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3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82-4F7F-97AD-3DE2F42FF2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7307327"/>
        <c:axId val="567310207"/>
      </c:barChart>
      <c:catAx>
        <c:axId val="567307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310207"/>
        <c:crosses val="autoZero"/>
        <c:auto val="1"/>
        <c:lblAlgn val="ctr"/>
        <c:lblOffset val="100"/>
        <c:noMultiLvlLbl val="0"/>
      </c:catAx>
      <c:valAx>
        <c:axId val="56731020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3073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466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357842-706E-57F8-9256-DEF67C1FAF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E1E789E-3C09-8D24-28B6-F013667F9C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1E789E-3C09-8D24-28B6-F013667F9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9AF0E0B0-7694-3B1E-2BCE-52914E482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olumn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6803E9C-FD20-BAFD-D1FB-E10C9C3873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B0B13D4C-525E-07B9-6FF7-028CCCCD7B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FF7E04D-B18E-3F4A-0644-B444F6041F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6" name="Chart Placeholder 5">
            <a:extLst>
              <a:ext uri="{FF2B5EF4-FFF2-40B4-BE49-F238E27FC236}">
                <a16:creationId xmlns:a16="http://schemas.microsoft.com/office/drawing/2014/main" id="{B7EB8FAC-6F6C-473B-B1EC-3367AB1C466B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7015162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81BCA381-DA6A-AF60-80EF-48A2FBDD61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DD689B2E-14ED-98A3-987E-875A8C8719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1224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6</TotalTime>
  <Words>86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Column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74</cp:revision>
  <dcterms:created xsi:type="dcterms:W3CDTF">2025-07-09T10:57:17Z</dcterms:created>
  <dcterms:modified xsi:type="dcterms:W3CDTF">2025-10-22T09:51:28Z</dcterms:modified>
  <cp:category/>
</cp:coreProperties>
</file>